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ommentAuthors.xml" ContentType="application/vnd.openxmlformats-officedocument.presentationml.commentAuthor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3" Type="http://schemas.openxmlformats.org/package/2006/relationships/metadata/core-properties" Target="docProps/core.xml"/><Relationship Id="rId4" Type="http://schemas.openxmlformats.org/package/2006/relationships/metadata/thumbnail" Target="docProps/thumbnail.jpeg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>
  <p:sldMasterIdLst>
    <p:sldMasterId id="2147483648" r:id="rId1"/>
    <p:sldMasterId id="2147483664" r:id="rId3"/>
    <p:sldMasterId id="2147483678" r:id="rId4"/>
  </p:sldMasterIdLst>
  <p:notesMasterIdLst>
    <p:notesMasterId r:id="rId6"/>
  </p:notesMasterIdLst>
  <p:sldIdLst>
    <p:sldId id="596" r:id="rId5"/>
    <p:sldId id="610" r:id="rId7"/>
    <p:sldId id="611" r:id="rId8"/>
    <p:sldId id="612" r:id="rId9"/>
    <p:sldId id="613" r:id="rId10"/>
    <p:sldId id="616" r:id="rId11"/>
    <p:sldId id="609" r:id="rId12"/>
  </p:sldIdLst>
  <p:sldSz cx="9144000" cy="5143500" type="screen16x9"/>
  <p:notesSz cx="13258800" cy="23926800"/>
  <p:embeddedFontLst>
    <p:embeddedFont>
      <p:font typeface="Calibri" panose="020F050202020403020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de-DE"/>
    </a:defPPr>
    <a:lvl1pPr marL="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89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45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0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29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545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35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69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58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4381EC5-C923-49F4-ABA3-5D5560F6BC40}">
          <p14:sldIdLst>
            <p14:sldId id="596"/>
            <p14:sldId id="610"/>
            <p14:sldId id="611"/>
            <p14:sldId id="612"/>
            <p14:sldId id="613"/>
            <p14:sldId id="616"/>
            <p14:sldId id="6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1620" userDrawn="1">
          <p15:clr>
            <a:srgbClr val="A4A3A4"/>
          </p15:clr>
        </p15:guide>
        <p15:guide id="4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eorg Wittenburg" initials="GW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438D"/>
    <a:srgbClr val="80D4C4"/>
    <a:srgbClr val="FEFEFE"/>
    <a:srgbClr val="FF9900"/>
    <a:srgbClr val="FFFFFF"/>
    <a:srgbClr val="77C5B8"/>
    <a:srgbClr val="000000"/>
    <a:srgbClr val="A6A6A6"/>
    <a:srgbClr val="2D5296"/>
    <a:srgbClr val="A8BF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44" autoAdjust="0"/>
    <p:restoredTop sz="92834" autoAdjust="0"/>
  </p:normalViewPr>
  <p:slideViewPr>
    <p:cSldViewPr snapToGrid="0" snapToObjects="1" showGuides="1">
      <p:cViewPr varScale="1">
        <p:scale>
          <a:sx n="53" d="100"/>
          <a:sy n="53" d="100"/>
        </p:scale>
        <p:origin x="184" y="2536"/>
      </p:cViewPr>
      <p:guideLst>
        <p:guide orient="horz" pos="2160"/>
        <p:guide pos="3120"/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ableStyles" Target="tableStyles.xml"/><Relationship Id="rId16" Type="http://schemas.openxmlformats.org/officeDocument/2006/relationships/commentAuthors" Target="commentAuthors.xml"/><Relationship Id="rId17" Type="http://schemas.openxmlformats.org/officeDocument/2006/relationships/font" Target="fonts/font1.fntdata"/><Relationship Id="rId18" Type="http://schemas.openxmlformats.org/officeDocument/2006/relationships/font" Target="fonts/font2.fntdata"/><Relationship Id="rId19" Type="http://schemas.openxmlformats.org/officeDocument/2006/relationships/font" Target="fonts/font3.fntdata"/><Relationship Id="rId20" Type="http://schemas.openxmlformats.org/officeDocument/2006/relationships/font" Target="fonts/font4.fntdata"/><Relationship Id="rId21" Type="http://schemas.openxmlformats.org/officeDocument/2006/relationships/tags" Target="tags/tag40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Workbook1.xlsx"/><Relationship Id="rId2" Type="http://schemas.microsoft.com/office/2011/relationships/chartStyle" Target="style1.xml"/><Relationship Id="rId3" Type="http://schemas.microsoft.com/office/2011/relationships/chartColorStyle" Target="colors1.xml"/></Relationships>
</file>

<file path=ppt/charts/_rels/chart2.xml.rels><?xml version='1.0' encoding='UTF-8' standalone='yes'?>
<Relationships xmlns="http://schemas.openxmlformats.org/package/2006/relationships"><Relationship Id="rId1" Type="http://schemas.openxmlformats.org/officeDocument/2006/relationships/package" Target="../embeddings/Workbook2.xlsx"/><Relationship Id="rId2" Type="http://schemas.microsoft.com/office/2011/relationships/chartStyle" Target="style2.xml"/><Relationship Id="rId3" Type="http://schemas.microsoft.com/office/2011/relationships/chartColorStyle" Target="colors2.xml"/></Relationships>
</file>

<file path=ppt/charts/_rels/chart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Workbook3.xlsx"/><Relationship Id="rId2" Type="http://schemas.microsoft.com/office/2011/relationships/chartStyle" Target="style3.xml"/><Relationship Id="rId3" Type="http://schemas.microsoft.com/office/2011/relationships/chartColorStyle" Target="colors3.xml"/></Relationships>
</file>

<file path=ppt/charts/_rels/chart4.xml.rels><?xml version='1.0' encoding='UTF-8' standalone='yes'?>
<Relationships xmlns="http://schemas.openxmlformats.org/package/2006/relationships"><Relationship Id="rId1" Type="http://schemas.openxmlformats.org/officeDocument/2006/relationships/package" Target="../embeddings/Workbook4.xlsx"/><Relationship Id="rId2" Type="http://schemas.microsoft.com/office/2011/relationships/chartStyle" Target="style4.xml"/><Relationship Id="rId3" Type="http://schemas.microsoft.com/office/2011/relationships/chartColorStyle" Target="colors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r>
              <a:t>Monthly Sale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1400" b="1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"/>
            <c:spPr>
              <a:ln w="31750">
                <a:solidFill>
                  <a:srgbClr val="FF0000"/>
                </a:solidFill>
              </a:ln>
            </c:spPr>
          </c:dPt>
          <c:dLbls>
            <c:delete val="1"/>
          </c:dLbls>
          <c:cat>
            <c:strRef>
              <c:f>Sheet1!$A$2:$A$6</c:f>
              <c:strCache>
                <c:ptCount val="5"/>
                <c:pt idx="0">
                  <c:v>Month 1</c:v>
                </c:pt>
                <c:pt idx="1">
                  <c:v>Month 2</c:v>
                </c:pt>
                <c:pt idx="2">
                  <c:v>Month 3</c:v>
                </c:pt>
                <c:pt idx="3">
                  <c:v>Month 4</c:v>
                </c:pt>
                <c:pt idx="4">
                  <c:v>Month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200</c:v>
                </c:pt>
                <c:pt idx="1">
                  <c:v>1300</c:v>
                </c:pt>
                <c:pt idx="2">
                  <c:v>1250</c:v>
                </c:pt>
                <c:pt idx="3">
                  <c:v>1400</c:v>
                </c:pt>
                <c:pt idx="4">
                  <c:v>15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6"/>
        <c:overlap val="-28"/>
        <c:axId val="676789395"/>
        <c:axId val="374449414"/>
      </c:barChart>
      <c:catAx>
        <c:axId val="676789395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GB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374449414"/>
        <c:crosses val="autoZero"/>
        <c:auto val="1"/>
        <c:lblAlgn val="ctr"/>
        <c:lblOffset val="100"/>
        <c:noMultiLvlLbl val="0"/>
      </c:catAx>
      <c:valAx>
        <c:axId val="37444941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02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GB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767893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GB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 Over Tim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3"/>
            <c:spPr>
              <a:solidFill>
                <a:srgbClr val="E74C3C"/>
              </a:solidFill>
              <a:ln w="203200"/>
            </c:spPr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200</c:v>
                </c:pt>
                <c:pt idx="1">
                  <c:v>1300</c:v>
                </c:pt>
                <c:pt idx="2">
                  <c:v>1250</c:v>
                </c:pt>
                <c:pt idx="3">
                  <c:v>14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0"/>
        <c:smooth val="0"/>
        <c:axId val="112904511"/>
        <c:axId val="113010319"/>
      </c:lineChart>
      <c:catAx>
        <c:axId val="112904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13010319"/>
        <c:crosses val="autoZero"/>
        <c:auto val="1"/>
        <c:lblAlgn val="ctr"/>
        <c:lblOffset val="100"/>
        <c:noMultiLvlLbl val="0"/>
      </c:catAx>
      <c:valAx>
        <c:axId val="1130103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129045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GB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1400" b="1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onthly Sales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6</c:f>
              <c:strCache>
                <c:ptCount val="5"/>
                <c:pt idx="0">
                  <c:v>Month 1</c:v>
                </c:pt>
                <c:pt idx="1">
                  <c:v>Month 2</c:v>
                </c:pt>
                <c:pt idx="2">
                  <c:v>Month 3</c:v>
                </c:pt>
                <c:pt idx="3">
                  <c:v>Month 4</c:v>
                </c:pt>
                <c:pt idx="4">
                  <c:v>Month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200</c:v>
                </c:pt>
                <c:pt idx="1">
                  <c:v>1300</c:v>
                </c:pt>
                <c:pt idx="2">
                  <c:v>1250</c:v>
                </c:pt>
                <c:pt idx="3">
                  <c:v>1400</c:v>
                </c:pt>
                <c:pt idx="4">
                  <c:v>15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GB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1400" b="1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 Over Time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200</c:v>
                </c:pt>
                <c:pt idx="1">
                  <c:v>1300</c:v>
                </c:pt>
                <c:pt idx="2">
                  <c:v>1250</c:v>
                </c:pt>
                <c:pt idx="3">
                  <c:v>14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GB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0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noFill/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1008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solidFill>
          <a:schemeClr val="bg1"/>
        </a:solidFill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08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solidFill>
          <a:schemeClr val="bg1"/>
        </a:solidFill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5745480" cy="1196341"/>
          </a:xfrm>
          <a:prstGeom prst="rect">
            <a:avLst/>
          </a:prstGeom>
        </p:spPr>
        <p:txBody>
          <a:bodyPr vert="horz" lIns="212471" tIns="106236" rIns="212471" bIns="106236" rtlCol="0"/>
          <a:lstStyle>
            <a:lvl1pPr algn="l">
              <a:defRPr sz="29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7510254" y="1"/>
            <a:ext cx="5745480" cy="1196341"/>
          </a:xfrm>
          <a:prstGeom prst="rect">
            <a:avLst/>
          </a:prstGeom>
        </p:spPr>
        <p:txBody>
          <a:bodyPr vert="horz" lIns="212471" tIns="106236" rIns="212471" bIns="106236" rtlCol="0"/>
          <a:lstStyle>
            <a:lvl1pPr algn="r">
              <a:defRPr sz="2900"/>
            </a:lvl1pPr>
          </a:lstStyle>
          <a:p>
            <a:fld id="{1BA6F26E-365A-42AF-8470-607A9FFA714C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343025" y="1797050"/>
            <a:ext cx="15944850" cy="8969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212471" tIns="106236" rIns="212471" bIns="10623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25880" y="11365232"/>
            <a:ext cx="10607040" cy="10767061"/>
          </a:xfrm>
          <a:prstGeom prst="rect">
            <a:avLst/>
          </a:prstGeom>
        </p:spPr>
        <p:txBody>
          <a:bodyPr vert="horz" lIns="212471" tIns="106236" rIns="212471" bIns="106236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22726307"/>
            <a:ext cx="5745480" cy="1196341"/>
          </a:xfrm>
          <a:prstGeom prst="rect">
            <a:avLst/>
          </a:prstGeom>
        </p:spPr>
        <p:txBody>
          <a:bodyPr vert="horz" lIns="212471" tIns="106236" rIns="212471" bIns="106236" rtlCol="0" anchor="b"/>
          <a:lstStyle>
            <a:lvl1pPr algn="l">
              <a:defRPr sz="29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7510254" y="22726307"/>
            <a:ext cx="5745480" cy="1196341"/>
          </a:xfrm>
          <a:prstGeom prst="rect">
            <a:avLst/>
          </a:prstGeom>
        </p:spPr>
        <p:txBody>
          <a:bodyPr vert="horz" lIns="212471" tIns="106236" rIns="212471" bIns="106236" rtlCol="0" anchor="b"/>
          <a:lstStyle>
            <a:lvl1pPr algn="r">
              <a:defRPr sz="2900"/>
            </a:lvl1pPr>
          </a:lstStyle>
          <a:p>
            <a:fld id="{743D0F18-51F6-41DF-95DC-A88507B00549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89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4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0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29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54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3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69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58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43025" y="1797050"/>
            <a:ext cx="15944850" cy="8969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{{CLIENT_NAME}} is not defined in the data file so an error should be logged for this anno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3D0F18-51F6-41DF-95DC-A88507B00549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image" Target="../media/image4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10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1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12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13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image" Target="../media/image4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16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17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2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18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19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20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2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22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23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24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tags" Target="../tags/tag25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image" Target="../media/image4.png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3.xml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28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29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30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3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3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33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34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35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36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4.xml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tags" Target="../tags/tag37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5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6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7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8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5760000" cy="1102519"/>
          </a:xfrm>
        </p:spPr>
        <p:txBody>
          <a:bodyPr/>
          <a:lstStyle>
            <a:lvl1pPr>
              <a:defRPr sz="2600" b="1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5760000" cy="1314450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rgbClr val="1C438D"/>
                </a:solidFill>
                <a:latin typeface="+mj-lt"/>
              </a:defRPr>
            </a:lvl1pPr>
            <a:lvl2pPr marL="389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3C274-C6F2-4AD4-B4FE-5E26CBDF325A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7" name="Rectangle 4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113578" y="2914648"/>
            <a:ext cx="1481353" cy="788326"/>
            <a:chOff x="7113577" y="2914650"/>
            <a:chExt cx="1481353" cy="788327"/>
          </a:xfrm>
        </p:grpSpPr>
        <p:pic>
          <p:nvPicPr>
            <p:cNvPr id="9" name="Picture 8" descr="Twitter_bird_logo_2012.svg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13577" y="3490811"/>
              <a:ext cx="219074" cy="178108"/>
            </a:xfrm>
            <a:prstGeom prst="rect">
              <a:avLst/>
            </a:prstGeom>
          </p:spPr>
        </p:pic>
        <p:pic>
          <p:nvPicPr>
            <p:cNvPr id="10" name="Picture 9" descr="LinkedIn_logo_initials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34060" y="3219760"/>
              <a:ext cx="178108" cy="178108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7307398" y="2914650"/>
              <a:ext cx="1287532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www.inspirient.com</a:t>
              </a:r>
              <a:endParaRPr lang="en-US" sz="10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307397" y="3185705"/>
              <a:ext cx="1284326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pPr marL="0" marR="0" indent="0" algn="l" defTabSz="779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000" dirty="0"/>
                <a:t>/company/inspirient</a:t>
              </a:r>
              <a:endParaRPr lang="en-US" sz="1000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307399" y="3456756"/>
              <a:ext cx="825867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@inspirient</a:t>
              </a:r>
              <a:endParaRPr lang="en-US" sz="1000" dirty="0"/>
            </a:p>
          </p:txBody>
        </p:sp>
        <p:pic>
          <p:nvPicPr>
            <p:cNvPr id="14" name="Picture 13" descr="globe-png-39526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114195" y="2927960"/>
              <a:ext cx="217838" cy="219600"/>
            </a:xfrm>
            <a:prstGeom prst="rect">
              <a:avLst/>
            </a:prstGeom>
          </p:spPr>
        </p:pic>
      </p:grpSp>
      <p:pic>
        <p:nvPicPr>
          <p:cNvPr id="15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6905241" y="513621"/>
            <a:ext cx="1898026" cy="632675"/>
          </a:xfrm>
          <a:prstGeom prst="rect">
            <a:avLst/>
          </a:prstGeom>
          <a:noFill/>
          <a:effectLst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ery, 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700" b="0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04791"/>
            <a:ext cx="5111750" cy="43898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8"/>
            <a:ext cx="3008313" cy="351829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DFDDB-1867-4969-A541-885A7877BEA8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1" y="1076325"/>
            <a:ext cx="3008313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700" b="0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700"/>
            </a:lvl1pPr>
            <a:lvl2pPr marL="389890" indent="0">
              <a:buNone/>
              <a:defRPr sz="2400"/>
            </a:lvl2pPr>
            <a:lvl3pPr marL="779145" indent="0">
              <a:buNone/>
              <a:defRPr sz="2000"/>
            </a:lvl3pPr>
            <a:lvl4pPr marL="1168400" indent="0">
              <a:buNone/>
              <a:defRPr sz="1700"/>
            </a:lvl4pPr>
            <a:lvl5pPr marL="1558290" indent="0">
              <a:buNone/>
              <a:defRPr sz="1700"/>
            </a:lvl5pPr>
            <a:lvl6pPr marL="1947545" indent="0">
              <a:buNone/>
              <a:defRPr sz="1700"/>
            </a:lvl6pPr>
            <a:lvl7pPr marL="2337435" indent="0">
              <a:buNone/>
              <a:defRPr sz="1700"/>
            </a:lvl7pPr>
            <a:lvl8pPr marL="2726690" indent="0">
              <a:buNone/>
              <a:defRPr sz="1700"/>
            </a:lvl8pPr>
            <a:lvl9pPr marL="3116580" indent="0">
              <a:buNone/>
              <a:defRPr sz="1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363DBF-0890-41BC-AB10-B33CD565B9F4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AD7DA-FA71-43E6-9E37-31E4283EE0E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6BC0-1144-4310-A98F-A057D11445A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629400" y="205979"/>
            <a:ext cx="0" cy="4388644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5760000" cy="1102519"/>
          </a:xfrm>
        </p:spPr>
        <p:txBody>
          <a:bodyPr/>
          <a:lstStyle>
            <a:lvl1pPr>
              <a:defRPr sz="2600" b="1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5760000" cy="1314450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rgbClr val="1C438D"/>
                </a:solidFill>
                <a:latin typeface="+mj-lt"/>
              </a:defRPr>
            </a:lvl1pPr>
            <a:lvl2pPr marL="389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3C274-C6F2-4AD4-B4FE-5E26CBDF325A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7" name="Rectangle 4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113578" y="2914648"/>
            <a:ext cx="1481353" cy="788326"/>
            <a:chOff x="7113577" y="2914650"/>
            <a:chExt cx="1481353" cy="788327"/>
          </a:xfrm>
        </p:grpSpPr>
        <p:pic>
          <p:nvPicPr>
            <p:cNvPr id="9" name="Picture 8" descr="Twitter_bird_logo_2012.svg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13577" y="3490811"/>
              <a:ext cx="219074" cy="178108"/>
            </a:xfrm>
            <a:prstGeom prst="rect">
              <a:avLst/>
            </a:prstGeom>
          </p:spPr>
        </p:pic>
        <p:pic>
          <p:nvPicPr>
            <p:cNvPr id="10" name="Picture 9" descr="LinkedIn_logo_initials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34060" y="3219760"/>
              <a:ext cx="178108" cy="178108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7307398" y="2914650"/>
              <a:ext cx="1287532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www.inspirient.com</a:t>
              </a:r>
              <a:endParaRPr lang="en-US" sz="10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307397" y="3185705"/>
              <a:ext cx="1284326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pPr marL="0" marR="0" indent="0" algn="l" defTabSz="779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000" dirty="0"/>
                <a:t>/company/inspirient</a:t>
              </a:r>
              <a:endParaRPr lang="en-US" sz="1000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307399" y="3456756"/>
              <a:ext cx="825867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@inspirient</a:t>
              </a:r>
              <a:endParaRPr lang="en-US" sz="1000" dirty="0"/>
            </a:p>
          </p:txBody>
        </p:sp>
        <p:pic>
          <p:nvPicPr>
            <p:cNvPr id="14" name="Picture 13" descr="globe-png-39526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114195" y="2927960"/>
              <a:ext cx="217838" cy="219600"/>
            </a:xfrm>
            <a:prstGeom prst="rect">
              <a:avLst/>
            </a:prstGeom>
          </p:spPr>
        </p:pic>
      </p:grpSp>
      <p:pic>
        <p:nvPicPr>
          <p:cNvPr id="15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6905241" y="513621"/>
            <a:ext cx="1898026" cy="632675"/>
          </a:xfrm>
          <a:prstGeom prst="rect">
            <a:avLst/>
          </a:prstGeom>
          <a:noFill/>
          <a:effectLst/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ernate)">
    <p:bg>
      <p:bgPr>
        <a:gradFill>
          <a:gsLst>
            <a:gs pos="0">
              <a:srgbClr val="1C438D">
                <a:alpha val="86000"/>
              </a:srgbClr>
            </a:gs>
            <a:gs pos="100000">
              <a:srgbClr val="1C438D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5760000" cy="1102519"/>
          </a:xfrm>
        </p:spPr>
        <p:txBody>
          <a:bodyPr/>
          <a:lstStyle>
            <a:lvl1pPr>
              <a:defRPr sz="26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5760000" cy="1314450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rgbClr val="FFFFFF"/>
                </a:solidFill>
                <a:latin typeface="+mj-lt"/>
              </a:defRPr>
            </a:lvl1pPr>
            <a:lvl2pPr marL="389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3C274-C6F2-4AD4-B4FE-5E26CBDF325A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23248"/>
          </a:xfrm>
        </p:spPr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B5C3E-7C01-4AB1-9621-FE81FD54B920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56442"/>
            <a:ext cx="2895600" cy="18466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400" b="1" cap="all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8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1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2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754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4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66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5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F6085-A90B-4F9C-9118-45DC38446D0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9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23248"/>
          </a:xfrm>
        </p:spPr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56442"/>
            <a:ext cx="2895600" cy="18466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87C81-222B-4FFA-AEFA-53DEEBAB4326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2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noFill/>
          <a:effectLst/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  <a:noFill/>
          <a:effectLst/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9FFA3-6723-47BC-AE63-9D0EC32DB8F8}" type="datetime1">
              <a:rPr lang="de-DE" smtClean="0"/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4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57200" y="1631157"/>
            <a:ext cx="4040188" cy="0"/>
          </a:xfrm>
          <a:prstGeom prst="line">
            <a:avLst/>
          </a:prstGeom>
          <a:ln w="12700">
            <a:solidFill>
              <a:srgbClr val="1C438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645027" y="1631157"/>
            <a:ext cx="4040188" cy="0"/>
          </a:xfrm>
          <a:prstGeom prst="line">
            <a:avLst/>
          </a:prstGeom>
          <a:ln w="12700">
            <a:solidFill>
              <a:srgbClr val="1C438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F05DE-D94C-4172-A56B-6418B3825E13}" type="datetime1">
              <a:rPr lang="de-DE" smtClean="0"/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0C27A-985F-4F35-827A-3748C8344F37}" type="datetime1">
              <a:rPr lang="de-DE" smtClean="0"/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7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0C27A-985F-4F35-827A-3748C8344F37}" type="datetime1">
              <a:rPr lang="de-DE" smtClean="0"/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700" b="0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04791"/>
            <a:ext cx="5111750" cy="43898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8"/>
            <a:ext cx="3008313" cy="351829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DFDDB-1867-4969-A541-885A7877BEA8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1" y="1076325"/>
            <a:ext cx="3008313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700" b="0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700"/>
            </a:lvl1pPr>
            <a:lvl2pPr marL="389890" indent="0">
              <a:buNone/>
              <a:defRPr sz="2400"/>
            </a:lvl2pPr>
            <a:lvl3pPr marL="779145" indent="0">
              <a:buNone/>
              <a:defRPr sz="2000"/>
            </a:lvl3pPr>
            <a:lvl4pPr marL="1168400" indent="0">
              <a:buNone/>
              <a:defRPr sz="1700"/>
            </a:lvl4pPr>
            <a:lvl5pPr marL="1558290" indent="0">
              <a:buNone/>
              <a:defRPr sz="1700"/>
            </a:lvl5pPr>
            <a:lvl6pPr marL="1947545" indent="0">
              <a:buNone/>
              <a:defRPr sz="1700"/>
            </a:lvl6pPr>
            <a:lvl7pPr marL="2337435" indent="0">
              <a:buNone/>
              <a:defRPr sz="1700"/>
            </a:lvl7pPr>
            <a:lvl8pPr marL="2726690" indent="0">
              <a:buNone/>
              <a:defRPr sz="1700"/>
            </a:lvl8pPr>
            <a:lvl9pPr marL="3116580" indent="0">
              <a:buNone/>
              <a:defRPr sz="1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363DBF-0890-41BC-AB10-B33CD565B9F4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AD7DA-FA71-43E6-9E37-31E4283EE0E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6BC0-1144-4310-A98F-A057D11445A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629400" y="205979"/>
            <a:ext cx="0" cy="4388644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5181600" cy="110251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5181600" cy="13144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389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3C274-C6F2-4AD4-B4FE-5E26CBDF325A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7" name="Rectangle 4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113578" y="2914648"/>
            <a:ext cx="1481353" cy="788326"/>
            <a:chOff x="7113577" y="2914650"/>
            <a:chExt cx="1481353" cy="788327"/>
          </a:xfrm>
        </p:grpSpPr>
        <p:pic>
          <p:nvPicPr>
            <p:cNvPr id="13" name="Picture 12" descr="Twitter_bird_logo_2012.svg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13577" y="3490811"/>
              <a:ext cx="219074" cy="178108"/>
            </a:xfrm>
            <a:prstGeom prst="rect">
              <a:avLst/>
            </a:prstGeom>
          </p:spPr>
        </p:pic>
        <p:pic>
          <p:nvPicPr>
            <p:cNvPr id="14" name="Picture 13" descr="LinkedIn_logo_initials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34060" y="3219760"/>
              <a:ext cx="178108" cy="178108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7307398" y="2914650"/>
              <a:ext cx="1287532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www.inspirient.com</a:t>
              </a:r>
              <a:endParaRPr lang="en-US" sz="10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307397" y="3185705"/>
              <a:ext cx="1284326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pPr marL="0" marR="0" indent="0" algn="l" defTabSz="779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000" dirty="0"/>
                <a:t>/company/inspirient</a:t>
              </a:r>
              <a:endParaRPr lang="en-US" sz="100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307399" y="3456756"/>
              <a:ext cx="825867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@inspirient</a:t>
              </a:r>
              <a:endParaRPr lang="en-US" sz="1000" dirty="0"/>
            </a:p>
          </p:txBody>
        </p:sp>
        <p:pic>
          <p:nvPicPr>
            <p:cNvPr id="18" name="Picture 17" descr="globe-png-39526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114195" y="2927960"/>
              <a:ext cx="217838" cy="219600"/>
            </a:xfrm>
            <a:prstGeom prst="rect">
              <a:avLst/>
            </a:prstGeom>
          </p:spPr>
        </p:pic>
      </p:grpSp>
      <p:pic>
        <p:nvPicPr>
          <p:cNvPr id="19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 userDrawn="1"/>
        </p:nvPicPr>
        <p:blipFill>
          <a:blip r:embed="rId6" cstate="print">
            <a:grayscl/>
            <a:lum bright="100000" contrast="100000"/>
          </a:blip>
          <a:stretch>
            <a:fillRect/>
          </a:stretch>
        </p:blipFill>
        <p:spPr bwMode="auto">
          <a:xfrm>
            <a:off x="6905241" y="513621"/>
            <a:ext cx="1898026" cy="6326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without 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23248"/>
          </a:xfrm>
        </p:spPr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56442"/>
            <a:ext cx="2895600" cy="18466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7401"/>
            <a:ext cx="8229600" cy="878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B5C3E-7C01-4AB1-9621-FE81FD54B920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56442"/>
            <a:ext cx="2895600" cy="18466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400" b="1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8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1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2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754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4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66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5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F6085-A90B-4F9C-9118-45DC38446D0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1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9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87C81-222B-4FFA-AEFA-53DEEBAB4326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4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9FFA3-6723-47BC-AE63-9D0EC32DB8F8}" type="datetime1">
              <a:rPr lang="de-DE" smtClean="0"/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cxnSp>
        <p:nvCxnSpPr>
          <p:cNvPr id="17" name="Straight Connector 16"/>
          <p:cNvCxnSpPr/>
          <p:nvPr userDrawn="1"/>
        </p:nvCxnSpPr>
        <p:spPr>
          <a:xfrm>
            <a:off x="457200" y="1631157"/>
            <a:ext cx="4040188" cy="0"/>
          </a:xfrm>
          <a:prstGeom prst="line">
            <a:avLst/>
          </a:prstGeom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645027" y="1631157"/>
            <a:ext cx="4040188" cy="0"/>
          </a:xfrm>
          <a:prstGeom prst="line">
            <a:avLst/>
          </a:prstGeom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F05DE-D94C-4172-A56B-6418B3825E13}" type="datetime1">
              <a:rPr lang="de-DE" smtClean="0"/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0C27A-985F-4F35-827A-3748C8344F37}" type="datetime1">
              <a:rPr lang="de-DE" smtClean="0"/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7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0C27A-985F-4F35-827A-3748C8344F37}" type="datetime1">
              <a:rPr lang="de-DE" smtClean="0"/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7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04791"/>
            <a:ext cx="5111750" cy="43898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8"/>
            <a:ext cx="3008313" cy="351829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DFDDB-1867-4969-A541-885A7877BEA8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1" y="1076325"/>
            <a:ext cx="3008313" cy="0"/>
          </a:xfrm>
          <a:prstGeom prst="line">
            <a:avLst/>
          </a:prstGeom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7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700"/>
            </a:lvl1pPr>
            <a:lvl2pPr marL="389890" indent="0">
              <a:buNone/>
              <a:defRPr sz="2400"/>
            </a:lvl2pPr>
            <a:lvl3pPr marL="779145" indent="0">
              <a:buNone/>
              <a:defRPr sz="2000"/>
            </a:lvl3pPr>
            <a:lvl4pPr marL="1168400" indent="0">
              <a:buNone/>
              <a:defRPr sz="1700"/>
            </a:lvl4pPr>
            <a:lvl5pPr marL="1558290" indent="0">
              <a:buNone/>
              <a:defRPr sz="1700"/>
            </a:lvl5pPr>
            <a:lvl6pPr marL="1947545" indent="0">
              <a:buNone/>
              <a:defRPr sz="1700"/>
            </a:lvl6pPr>
            <a:lvl7pPr marL="2337435" indent="0">
              <a:buNone/>
              <a:defRPr sz="1700"/>
            </a:lvl7pPr>
            <a:lvl8pPr marL="2726690" indent="0">
              <a:buNone/>
              <a:defRPr sz="1700"/>
            </a:lvl8pPr>
            <a:lvl9pPr marL="3116580" indent="0">
              <a:buNone/>
              <a:defRPr sz="1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363DBF-0890-41BC-AB10-B33CD565B9F4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AD7DA-FA71-43E6-9E37-31E4283EE0E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3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9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400" b="1" cap="all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8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1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2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754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4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66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5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F6085-A90B-4F9C-9118-45DC38446D0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9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6BC0-1144-4310-A98F-A057D11445A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629400" y="205979"/>
            <a:ext cx="0" cy="4388644"/>
          </a:xfrm>
          <a:prstGeom prst="line">
            <a:avLst/>
          </a:prstGeom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87C81-222B-4FFA-AEFA-53DEEBAB4326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2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solidFill>
            <a:schemeClr val="bg1"/>
          </a:solidFill>
          <a:effectLst>
            <a:outerShdw dist="12700" dir="5400000" sx="99000" sy="99000" algn="ctr" rotWithShape="0">
              <a:srgbClr val="1C438D"/>
            </a:outerShdw>
          </a:effectLst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  <a:solidFill>
            <a:schemeClr val="bg1"/>
          </a:solidFill>
          <a:effectLst>
            <a:outerShdw dist="12700" dir="5400000" sx="99000" sy="99000" algn="ctr" rotWithShape="0">
              <a:srgbClr val="1C438D"/>
            </a:outerShdw>
          </a:effectLst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9FFA3-6723-47BC-AE63-9D0EC32DB8F8}" type="datetime1">
              <a:rPr lang="de-DE" smtClean="0"/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4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(without 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7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ags" Target="../tags/tag14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6.emf"/><Relationship Id="rId19" Type="http://schemas.openxmlformats.org/officeDocument/2006/relationships/vmlDrawing" Target="../drawings/vmlDrawing1.vml"/><Relationship Id="rId20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28.xml"/><Relationship Id="rId14" Type="http://schemas.openxmlformats.org/officeDocument/2006/relationships/image" Target="../media/image7.jpeg"/><Relationship Id="rId15" Type="http://schemas.openxmlformats.org/officeDocument/2006/relationships/tags" Target="../tags/tag26.xml"/><Relationship Id="rId16" Type="http://schemas.openxmlformats.org/officeDocument/2006/relationships/oleObject" Target="../embeddings/oleObject2.bin"/><Relationship Id="rId17" Type="http://schemas.openxmlformats.org/officeDocument/2006/relationships/image" Target="../media/image6.emf"/><Relationship Id="rId18" Type="http://schemas.openxmlformats.org/officeDocument/2006/relationships/vmlDrawing" Target="../drawings/vmlDrawing2.vml"/><Relationship Id="rId19" Type="http://schemas.openxmlformats.org/officeDocument/2006/relationships/theme" Target="../theme/theme2.xml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5.xml"/><Relationship Id="rId8" Type="http://schemas.openxmlformats.org/officeDocument/2006/relationships/slideLayout" Target="../slideLayouts/slideLayout36.xml"/><Relationship Id="rId9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0.xml"/><Relationship Id="rId13" Type="http://schemas.openxmlformats.org/officeDocument/2006/relationships/image" Target="../media/image8.png"/><Relationship Id="rId14" Type="http://schemas.openxmlformats.org/officeDocument/2006/relationships/tags" Target="../tags/tag38.xml"/><Relationship Id="rId15" Type="http://schemas.openxmlformats.org/officeDocument/2006/relationships/oleObject" Target="../embeddings/oleObject3.bin"/><Relationship Id="rId16" Type="http://schemas.openxmlformats.org/officeDocument/2006/relationships/image" Target="../media/image6.emf"/><Relationship Id="rId17" Type="http://schemas.openxmlformats.org/officeDocument/2006/relationships/vmlDrawing" Target="../drawings/vmlDrawing3.vml"/><Relationship Id="rId18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7" name="think-cell Slide" r:id="rId17" imgW="12700" imgH="12700" progId="">
                  <p:embed/>
                </p:oleObj>
              </mc:Choice>
              <mc:Fallback>
                <p:oleObj name="think-cell Slide" r:id="rId17" imgW="12700" imgH="12700" progId="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23247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77914" tIns="76687" rIns="77914" bIns="7668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94C221-D271-4F33-99B1-60F69E26045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56442"/>
            <a:ext cx="2895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hf hdr="0" ftr="0" dt="0"/>
  <p:txStyles>
    <p:titleStyle>
      <a:lvl1pPr algn="l" defTabSz="779145" rtl="0" eaLnBrk="1" latinLnBrk="0" hangingPunct="1">
        <a:spcBef>
          <a:spcPct val="0"/>
        </a:spcBef>
        <a:buNone/>
        <a:defRPr sz="20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92100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3309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974090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36334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»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4249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38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63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52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6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5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5" name="think-cell Slide" r:id="rId16" imgW="12700" imgH="12700" progId="">
                  <p:embed/>
                </p:oleObj>
              </mc:Choice>
              <mc:Fallback>
                <p:oleObj name="think-cell Slide" r:id="rId16" imgW="12700" imgH="12700" progId="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23247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77914" tIns="76687" rIns="77914" bIns="7668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94C221-D271-4F33-99B1-60F69E26045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56442"/>
            <a:ext cx="2895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defTabSz="779145" rtl="0" eaLnBrk="1" latinLnBrk="0" hangingPunct="1">
        <a:spcBef>
          <a:spcPct val="0"/>
        </a:spcBef>
        <a:buNone/>
        <a:defRPr sz="20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92100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3309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974090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36334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»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4249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38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63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52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6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5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1" name="think-cell Slide" r:id="rId15" imgW="12700" imgH="12700" progId="">
                  <p:embed/>
                </p:oleObj>
              </mc:Choice>
              <mc:Fallback>
                <p:oleObj name="think-cell Slide" r:id="rId15" imgW="12700" imgH="12700" progId="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67401"/>
            <a:ext cx="8229600" cy="8788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7914" tIns="38957" rIns="77914" bIns="38957" rtlCol="0" anchor="b">
            <a:no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9390"/>
            <a:ext cx="8229600" cy="3034392"/>
          </a:xfrm>
          <a:prstGeom prst="rect">
            <a:avLst/>
          </a:prstGeom>
        </p:spPr>
        <p:txBody>
          <a:bodyPr vert="horz" lIns="77914" tIns="76687" rIns="77914" bIns="7668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l">
              <a:defRPr sz="800"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DA94C221-D271-4F33-99B1-60F69E26045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56442"/>
            <a:ext cx="2895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ctr">
              <a:defRPr sz="800"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r">
              <a:defRPr sz="800"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 ftr="0" dt="0"/>
  <p:txStyles>
    <p:titleStyle>
      <a:lvl1pPr algn="l" defTabSz="779145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leo" pitchFamily="34" charset="0"/>
          <a:ea typeface="+mj-ea"/>
          <a:cs typeface="+mj-cs"/>
        </a:defRPr>
      </a:lvl1pPr>
    </p:titleStyle>
    <p:bodyStyle>
      <a:lvl1pPr marL="292100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33095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974090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363345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5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»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4249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38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63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52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6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5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39.xml"/><Relationship Id="rId2" Type="http://schemas.openxmlformats.org/officeDocument/2006/relationships/oleObject" Target="../embeddings/oleObject4.bin"/><Relationship Id="rId3" Type="http://schemas.openxmlformats.org/officeDocument/2006/relationships/image" Target="../media/image6.emf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7" Type="http://schemas.openxmlformats.org/officeDocument/2006/relationships/slideLayout" Target="../slideLayouts/slideLayout17.xml"/><Relationship Id="rId8" Type="http://schemas.openxmlformats.org/officeDocument/2006/relationships/vmlDrawing" Target="../drawings/vmlDrawing4.vml"/><Relationship Id="rId9" Type="http://schemas.openxmlformats.org/officeDocument/2006/relationships/notesSlide" Target="../notesSlides/notesSlide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chart" Target="../charts/chart1.xml"/><Relationship Id="rId2" Type="http://schemas.openxmlformats.org/officeDocument/2006/relationships/slideLayout" Target="../slideLayouts/slideLayout3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chart" Target="../charts/chart2.xml"/><Relationship Id="rId2" Type="http://schemas.openxmlformats.org/officeDocument/2006/relationships/slideLayout" Target="../slideLayouts/slideLayout3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chart" Target="../charts/chart3.xml"/><Relationship Id="rId2" Type="http://schemas.openxmlformats.org/officeDocument/2006/relationships/chart" Target="../charts/chart4.xml"/><Relationship Id="rId3" Type="http://schemas.openxmlformats.org/officeDocument/2006/relationships/slideLayout" Target="../slideLayouts/slideLayout3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image" Target="../media/image4.png"/><Relationship Id="rId2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27" name="think-cell Slide" r:id="rId2" imgW="12700" imgH="12700" progId="">
                  <p:embed/>
                </p:oleObj>
              </mc:Choice>
              <mc:Fallback>
                <p:oleObj name="think-cell Slide" r:id="rId2" imgW="12700" imgH="12700" progId="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</a:blip>
          <a:stretch>
            <a:fillRect/>
          </a:stretch>
        </p:blipFill>
        <p:spPr bwMode="auto">
          <a:xfrm>
            <a:off x="1909466" y="1222577"/>
            <a:ext cx="5325069" cy="17750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TextBox 38"/>
          <p:cNvSpPr txBox="1"/>
          <p:nvPr/>
        </p:nvSpPr>
        <p:spPr>
          <a:xfrm>
            <a:off x="3002709" y="2997601"/>
            <a:ext cx="3138612" cy="46166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38" tIns="45719" rIns="91438" bIns="45719" rtlCol="0" anchor="ctr">
            <a:spAutoFit/>
          </a:bodyPr>
          <a:lstStyle/>
          <a:p>
            <a:pPr algn="ctr"/>
            <a:r>
              <a:rPr sz="2400" b="1" i="1">
                <a:solidFill>
                  <a:schemeClr val="bg1"/>
                </a:solidFill>
              </a:rPr>
              <a:t>Custom Analysis Presentation Prototype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938285" y="4199066"/>
            <a:ext cx="3088758" cy="823204"/>
            <a:chOff x="2931" y="-231629"/>
            <a:chExt cx="17146025" cy="4569697"/>
          </a:xfrm>
        </p:grpSpPr>
        <p:pic>
          <p:nvPicPr>
            <p:cNvPr id="7" name="Picture 6" descr="MRS_Oppies_Win_Solution_0823_cropped.png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lum bright="40000" contrast="40000"/>
            </a:blip>
            <a:stretch>
              <a:fillRect/>
            </a:stretch>
          </p:blipFill>
          <p:spPr>
            <a:xfrm>
              <a:off x="2931" y="2382"/>
              <a:ext cx="9141069" cy="4335686"/>
            </a:xfrm>
            <a:prstGeom prst="rect">
              <a:avLst/>
            </a:prstGeom>
          </p:spPr>
        </p:pic>
        <p:pic>
          <p:nvPicPr>
            <p:cNvPr id="6" name="Picture 5" descr="MRS_awards_0523Hcom_InnovationoftheYear_cropped.png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lum bright="40000" contrast="40000"/>
            </a:blip>
            <a:stretch>
              <a:fillRect/>
            </a:stretch>
          </p:blipFill>
          <p:spPr>
            <a:xfrm>
              <a:off x="7202197" y="-231629"/>
              <a:ext cx="9946759" cy="4233214"/>
            </a:xfrm>
            <a:prstGeom prst="rect">
              <a:avLst/>
            </a:prstGeom>
          </p:spPr>
        </p:pic>
      </p:grpSp>
      <p:sp>
        <p:nvSpPr>
          <p:cNvPr id="9" name="TextBox 8"/>
          <p:cNvSpPr txBox="1"/>
          <p:nvPr/>
        </p:nvSpPr>
        <p:spPr>
          <a:xfrm>
            <a:off x="116957" y="4745273"/>
            <a:ext cx="5739313" cy="2769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38" tIns="45719" rIns="91438" bIns="45719" rtlCol="0" anchor="ctr">
            <a:spAutoFit/>
          </a:bodyPr>
          <a:lstStyle/>
          <a:p>
            <a:r>
              <a:rPr sz="1200">
                <a:solidFill>
                  <a:schemeClr val="bg1"/>
                </a:solidFill>
              </a:rPr>
              <a:t>6 November 202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275974" y="67074"/>
            <a:ext cx="2751069" cy="46166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38" tIns="45719" rIns="91438" bIns="45719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{{CLIENT_NAME}}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gle Value Te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6" name="Rectangle 5"/>
          <p:cNvSpPr/>
          <p:nvPr/>
        </p:nvSpPr>
        <p:spPr>
          <a:xfrm>
            <a:off x="1793529" y="1325553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1200">
                <a:solidFill>
                  <a:srgbClr val="FFFFFF"/>
                </a:solidFill>
              </a:rPr>
              <a:t>Sales</a:t>
            </a:r>
          </a:p>
          <a:p>
            <a:pPr algn="ctr"/>
            <a:r>
              <a:rPr sz="1200">
                <a:solidFill>
                  <a:srgbClr val="FFFFFF"/>
                </a:solidFill>
              </a:rPr>
              <a:t>50000</a:t>
            </a:r>
          </a:p>
        </p:txBody>
      </p:sp>
      <p:sp>
        <p:nvSpPr>
          <p:cNvPr id="7" name="Rectangle 6"/>
          <p:cNvSpPr/>
          <p:nvPr/>
        </p:nvSpPr>
        <p:spPr>
          <a:xfrm>
            <a:off x="3952820" y="1325553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1200">
                <a:solidFill>
                  <a:srgbClr val="FFFFFF"/>
                </a:solidFill>
              </a:rPr>
              <a:t>Quantity</a:t>
            </a:r>
          </a:p>
          <a:p>
            <a:pPr algn="ctr"/>
            <a:r>
              <a:rPr sz="1200">
                <a:solidFill>
                  <a:srgbClr val="FFFFFF"/>
                </a:solidFill>
              </a:rPr>
              <a:t>1000</a:t>
            </a:r>
          </a:p>
        </p:txBody>
      </p:sp>
      <p:sp>
        <p:nvSpPr>
          <p:cNvPr id="8" name="Rectangle 7"/>
          <p:cNvSpPr/>
          <p:nvPr/>
        </p:nvSpPr>
        <p:spPr>
          <a:xfrm>
            <a:off x="6112111" y="1325553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1200">
                <a:solidFill>
                  <a:srgbClr val="FFFFFF"/>
                </a:solidFill>
              </a:rPr>
              <a:t>Avg. Price</a:t>
            </a:r>
          </a:p>
          <a:p>
            <a:pPr algn="ctr"/>
            <a:r>
              <a:rPr sz="1200">
                <a:solidFill>
                  <a:srgbClr val="FFFFFF"/>
                </a:solidFill>
              </a:rPr>
              <a:t>99</a:t>
            </a:r>
          </a:p>
        </p:txBody>
      </p:sp>
      <p:sp>
        <p:nvSpPr>
          <p:cNvPr id="9" name="Rectangle 8"/>
          <p:cNvSpPr/>
          <p:nvPr/>
        </p:nvSpPr>
        <p:spPr>
          <a:xfrm>
            <a:off x="1793529" y="3081200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Retailers</a:t>
            </a:r>
            <a:endParaRPr lang="en-US" sz="1200" dirty="0"/>
          </a:p>
          <a:p>
            <a:pPr algn="ctr"/>
            <a:r>
              <a:rPr lang="en-US" dirty="0"/>
              <a:t>{{</a:t>
            </a:r>
            <a:r>
              <a:rPr lang="en-GB" dirty="0"/>
              <a:t>TOTAL_RETAILERS</a:t>
            </a:r>
            <a:r>
              <a:rPr lang="en-US" dirty="0"/>
              <a:t>}}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944982" y="3081201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1200">
                <a:solidFill>
                  <a:srgbClr val="FFFFFF"/>
                </a:solidFill>
              </a:rPr>
              <a:t>Customers</a:t>
            </a:r>
          </a:p>
          <a:p>
            <a:pPr algn="ctr"/>
            <a:r>
              <a:rPr sz="1200">
                <a:solidFill>
                  <a:srgbClr val="FFFFFF"/>
                </a:solidFill>
              </a:rPr>
              <a:t>300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112111" y="3081200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1200">
                <a:solidFill>
                  <a:srgbClr val="FFFFFF"/>
                </a:solidFill>
              </a:rPr>
              <a:t>Churn Rate</a:t>
            </a:r>
          </a:p>
          <a:p>
            <a:pPr algn="ctr"/>
            <a:r>
              <a:rPr sz="1200">
                <a:solidFill>
                  <a:srgbClr val="FFFFFF"/>
                </a:solidFill>
              </a:rPr>
              <a:t>25%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s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graphicFrame>
        <p:nvGraphicFramePr>
          <p:cNvPr id="3" name="Chart 2"/>
          <p:cNvGraphicFramePr/>
          <p:nvPr/>
        </p:nvGraphicFramePr>
        <p:xfrm>
          <a:off x="486410" y="1080135"/>
          <a:ext cx="8084820" cy="3471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Test</a:t>
            </a:r>
            <a:endParaRPr lang="en-US" dirty="0"/>
          </a:p>
        </p:txBody>
      </p:sp>
      <p:graphicFrame>
        <p:nvGraphicFramePr>
          <p:cNvPr id="5" name="{{SALES_BY_PRODUCT}}" descr="{{SALES_BY_PRODUCT}}"/>
          <p:cNvGraphicFramePr>
            <a:graphicFrameLocks noGrp="1"/>
          </p:cNvGraphicFramePr>
          <p:nvPr>
            <p:ph idx="1"/>
          </p:nvPr>
        </p:nvGraphicFramePr>
        <p:xfrm>
          <a:off x="457200" y="1200150"/>
          <a:ext cx="4572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5920"/>
                <a:gridCol w="731520"/>
                <a:gridCol w="731520"/>
                <a:gridCol w="731520"/>
                <a:gridCol w="731520"/>
              </a:tblGrid>
              <a:tr h="370840">
                <a:tc>
                  <a:txBody>
                    <a:bodyPr/>
                    <a:lstStyle/>
                    <a:p>
                      <a:r>
                        <a:t>Product</a:t>
                      </a:r>
                    </a:p>
                  </a:txBody>
                  <a:tcPr/>
                </a:tc>
                <a:tc>
                  <a:txBody>
                    <a:bodyPr/>
                    <a:p>
                      <a:r>
                        <a:t>Q1</a:t>
                      </a:r>
                    </a:p>
                  </a:txBody>
                  <a:tcPr/>
                </a:tc>
                <a:tc>
                  <a:txBody>
                    <a:bodyPr/>
                    <a:p>
                      <a:r>
                        <a:t>Q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Q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Q4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b="1"/>
                        <a:t>Product A</a:t>
                      </a:r>
                    </a:p>
                  </a:txBody>
                  <a:tcPr/>
                </a:tc>
                <a:tc>
                  <a:txBody>
                    <a:bodyPr/>
                    <a:p>
                      <a:r>
                        <a:t>5000</a:t>
                      </a:r>
                    </a:p>
                  </a:txBody>
                  <a:tcPr/>
                </a:tc>
                <a:tc>
                  <a:txBody>
                    <a:bodyPr/>
                    <a:p>
                      <a:r>
                        <a:t>7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6500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b="1"/>
                        <a:t>Product B</a:t>
                      </a:r>
                    </a:p>
                  </a:txBody>
                  <a:tcPr/>
                </a:tc>
                <a:tc>
                  <a:txBody>
                    <a:bodyPr/>
                    <a:p>
                      <a:r>
                        <a:t>6000</a:t>
                      </a:r>
                    </a:p>
                  </a:txBody>
                  <a:tcPr/>
                </a:tc>
                <a:tc>
                  <a:txBody>
                    <a:bodyPr/>
                    <a:p>
                      <a:r>
                        <a:t>8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9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7500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ies Test</a:t>
            </a:r>
            <a:endParaRPr lang="en-US" dirty="0"/>
          </a:p>
        </p:txBody>
      </p:sp>
      <p:graphicFrame>
        <p:nvGraphicFramePr>
          <p:cNvPr id="5" name="{{SALES_OVER_TIME}}" descr="{{SALES_OVER_TIME}}"/>
          <p:cNvGraphicFramePr>
            <a:graphicFrameLocks noGrp="1"/>
          </p:cNvGraphicFramePr>
          <p:nvPr>
            <p:ph idx="1"/>
          </p:nvPr>
        </p:nvGraphicFramePr>
        <p:xfrm>
          <a:off x="457200" y="1200150"/>
          <a:ext cx="8229600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en-GB" altLang="en-US"/>
          </a:p>
        </p:txBody>
      </p:sp>
      <p:graphicFrame>
        <p:nvGraphicFramePr>
          <p:cNvPr id="5" name="Content Placeholder 4"/>
          <p:cNvGraphicFramePr/>
          <p:nvPr>
            <p:ph idx="1"/>
          </p:nvPr>
        </p:nvGraphicFramePr>
        <p:xfrm>
          <a:off x="457200" y="1200150"/>
          <a:ext cx="3217545" cy="339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graphicFrame>
        <p:nvGraphicFramePr>
          <p:cNvPr id="6" name="Chart 5"/>
          <p:cNvGraphicFramePr/>
          <p:nvPr/>
        </p:nvGraphicFramePr>
        <p:xfrm>
          <a:off x="4982210" y="1200785"/>
          <a:ext cx="3543300" cy="3350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/>
        </p:nvPicPr>
        <p:blipFill>
          <a:blip r:embed="rId1" cstate="print"/>
          <a:stretch>
            <a:fillRect/>
          </a:stretch>
        </p:blipFill>
        <p:spPr bwMode="auto">
          <a:xfrm>
            <a:off x="2298600" y="1423739"/>
            <a:ext cx="4546802" cy="1515600"/>
          </a:xfrm>
          <a:prstGeom prst="rect">
            <a:avLst/>
          </a:prstGeom>
          <a:noFill/>
          <a:effectLst/>
        </p:spPr>
      </p:pic>
      <p:sp>
        <p:nvSpPr>
          <p:cNvPr id="6" name="TextBox 5"/>
          <p:cNvSpPr txBox="1"/>
          <p:nvPr/>
        </p:nvSpPr>
        <p:spPr>
          <a:xfrm>
            <a:off x="3388542" y="3150178"/>
            <a:ext cx="2366929" cy="909672"/>
          </a:xfrm>
          <a:prstGeom prst="rect">
            <a:avLst/>
          </a:prstGeom>
          <a:noFill/>
          <a:effectLst/>
        </p:spPr>
        <p:txBody>
          <a:bodyPr wrap="none" lIns="77914" tIns="38957" rIns="77914" bIns="38957" rtlCol="0">
            <a:spAutoFit/>
          </a:bodyPr>
          <a:lstStyle/>
          <a:p>
            <a:pPr algn="ctr"/>
            <a:r>
              <a:rPr lang="en-US" sz="1200" b="1" i="1" dirty="0"/>
              <a:t>Reach us via…</a:t>
            </a:r>
            <a:endParaRPr lang="en-US" sz="1200" b="1" i="1" dirty="0"/>
          </a:p>
          <a:p>
            <a:pPr lvl="0"/>
            <a:endParaRPr lang="en-US" sz="600" dirty="0"/>
          </a:p>
          <a:p>
            <a:pPr marL="607060" indent="-607060"/>
            <a:r>
              <a:rPr lang="en-US" sz="1200" dirty="0"/>
              <a:t>Phone:	+49  30  2007  4820</a:t>
            </a:r>
            <a:endParaRPr lang="en-US" sz="1200" dirty="0"/>
          </a:p>
          <a:p>
            <a:pPr marL="607060" indent="-607060"/>
            <a:r>
              <a:rPr lang="en-US" sz="1200" dirty="0"/>
              <a:t>Email: 	contact@inspirient.com</a:t>
            </a:r>
            <a:endParaRPr lang="en-US" sz="1200" dirty="0"/>
          </a:p>
          <a:p>
            <a:pPr marL="607060" indent="-607060"/>
            <a:r>
              <a:rPr lang="en-US" sz="1200" dirty="0"/>
              <a:t>Web: 	www.inspirient.com</a:t>
            </a:r>
            <a:endParaRPr lang="en-US" sz="1200" dirty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BCGMACROSCOPYRIGHTREPRESENTATIVE" val="BCGMacrosCopyrightRepresentative"/>
</p:tagLst>
</file>

<file path=ppt/tags/tag10.xml><?xml version="1.0" encoding="utf-8"?>
<p:tagLst xmlns:p="http://schemas.openxmlformats.org/presentationml/2006/main">
  <p:tag name="BCGMACROSCOPYRIGHTREPRESENTATIVE" val="BCGMacrosCopyrightRepresentative"/>
</p:tagLst>
</file>

<file path=ppt/tags/tag11.xml><?xml version="1.0" encoding="utf-8"?>
<p:tagLst xmlns:p="http://schemas.openxmlformats.org/presentationml/2006/main">
  <p:tag name="BCGMACROSCOPYRIGHTREPRESENTATIVE" val="BCGMacrosCopyrightRepresentative"/>
</p:tagLst>
</file>

<file path=ppt/tags/tag12.xml><?xml version="1.0" encoding="utf-8"?>
<p:tagLst xmlns:p="http://schemas.openxmlformats.org/presentationml/2006/main">
  <p:tag name="BCGMACROSCOPYRIGHTREPRESENTATIVE" val="BCGMacrosCopyrightRepresentative"/>
</p:tagLst>
</file>

<file path=ppt/tags/tag13.xml><?xml version="1.0" encoding="utf-8"?>
<p:tagLst xmlns:p="http://schemas.openxmlformats.org/presentationml/2006/main">
  <p:tag name="BCGMACROSCOPYRIGHTREPRESENTATIVE" val="BCGMacrosCopyrightRepresentativ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BCGMACROSCOPYRIGHTREPRESENTATIVE" val="BCGMacrosCopyrightRepresentative"/>
</p:tagLst>
</file>

<file path=ppt/tags/tag16.xml><?xml version="1.0" encoding="utf-8"?>
<p:tagLst xmlns:p="http://schemas.openxmlformats.org/presentationml/2006/main">
  <p:tag name="BCGMACROSCOPYRIGHTREPRESENTATIVE" val="BCGMacrosCopyrightRepresentative"/>
</p:tagLst>
</file>

<file path=ppt/tags/tag17.xml><?xml version="1.0" encoding="utf-8"?>
<p:tagLst xmlns:p="http://schemas.openxmlformats.org/presentationml/2006/main">
  <p:tag name="BCGMACROSCOPYRIGHTREPRESENTATIVE" val="BCGMacrosCopyrightRepresentative"/>
</p:tagLst>
</file>

<file path=ppt/tags/tag18.xml><?xml version="1.0" encoding="utf-8"?>
<p:tagLst xmlns:p="http://schemas.openxmlformats.org/presentationml/2006/main">
  <p:tag name="BCGMACROSCOPYRIGHTREPRESENTATIVE" val="BCGMacrosCopyrightRepresentative"/>
</p:tagLst>
</file>

<file path=ppt/tags/tag19.xml><?xml version="1.0" encoding="utf-8"?>
<p:tagLst xmlns:p="http://schemas.openxmlformats.org/presentationml/2006/main">
  <p:tag name="BCGMACROSCOPYRIGHTREPRESENTATIVE" val="BCGMacrosCopyrightRepresentative"/>
</p:tagLst>
</file>

<file path=ppt/tags/tag2.xml><?xml version="1.0" encoding="utf-8"?>
<p:tagLst xmlns:p="http://schemas.openxmlformats.org/presentationml/2006/main">
  <p:tag name="BCGMACROSCOPYRIGHTREPRESENTATIVE" val="BCGMacrosCopyrightRepresentative"/>
</p:tagLst>
</file>

<file path=ppt/tags/tag20.xml><?xml version="1.0" encoding="utf-8"?>
<p:tagLst xmlns:p="http://schemas.openxmlformats.org/presentationml/2006/main">
  <p:tag name="BCGMACROSCOPYRIGHTREPRESENTATIVE" val="BCGMacrosCopyrightRepresentative"/>
</p:tagLst>
</file>

<file path=ppt/tags/tag21.xml><?xml version="1.0" encoding="utf-8"?>
<p:tagLst xmlns:p="http://schemas.openxmlformats.org/presentationml/2006/main">
  <p:tag name="BCGMACROSCOPYRIGHTREPRESENTATIVE" val="BCGMacrosCopyrightRepresentative"/>
</p:tagLst>
</file>

<file path=ppt/tags/tag22.xml><?xml version="1.0" encoding="utf-8"?>
<p:tagLst xmlns:p="http://schemas.openxmlformats.org/presentationml/2006/main">
  <p:tag name="BCGMACROSCOPYRIGHTREPRESENTATIVE" val="BCGMacrosCopyrightRepresentative"/>
</p:tagLst>
</file>

<file path=ppt/tags/tag23.xml><?xml version="1.0" encoding="utf-8"?>
<p:tagLst xmlns:p="http://schemas.openxmlformats.org/presentationml/2006/main">
  <p:tag name="BCGMACROSCOPYRIGHTREPRESENTATIVE" val="BCGMacrosCopyrightRepresentative"/>
</p:tagLst>
</file>

<file path=ppt/tags/tag24.xml><?xml version="1.0" encoding="utf-8"?>
<p:tagLst xmlns:p="http://schemas.openxmlformats.org/presentationml/2006/main">
  <p:tag name="BCGMACROSCOPYRIGHTREPRESENTATIVE" val="BCGMacrosCopyrightRepresentative"/>
</p:tagLst>
</file>

<file path=ppt/tags/tag25.xml><?xml version="1.0" encoding="utf-8"?>
<p:tagLst xmlns:p="http://schemas.openxmlformats.org/presentationml/2006/main">
  <p:tag name="BCGMACROSCOPYRIGHTREPRESENTATIVE" val="BCGMacrosCopyrightRepresentative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BCGMACROSCOPYRIGHTREPRESENTATIVE" val="BCGMacrosCopyrightRepresentative"/>
</p:tagLst>
</file>

<file path=ppt/tags/tag28.xml><?xml version="1.0" encoding="utf-8"?>
<p:tagLst xmlns:p="http://schemas.openxmlformats.org/presentationml/2006/main">
  <p:tag name="BCGMACROSCOPYRIGHTREPRESENTATIVE" val="BCGMacrosCopyrightRepresentative"/>
</p:tagLst>
</file>

<file path=ppt/tags/tag29.xml><?xml version="1.0" encoding="utf-8"?>
<p:tagLst xmlns:p="http://schemas.openxmlformats.org/presentationml/2006/main">
  <p:tag name="BCGMACROSCOPYRIGHTREPRESENTATIVE" val="BCGMacrosCopyrightRepresentative"/>
</p:tagLst>
</file>

<file path=ppt/tags/tag3.xml><?xml version="1.0" encoding="utf-8"?>
<p:tagLst xmlns:p="http://schemas.openxmlformats.org/presentationml/2006/main">
  <p:tag name="BCGMACROSCOPYRIGHTREPRESENTATIVE" val="BCGMacrosCopyrightRepresentative"/>
</p:tagLst>
</file>

<file path=ppt/tags/tag30.xml><?xml version="1.0" encoding="utf-8"?>
<p:tagLst xmlns:p="http://schemas.openxmlformats.org/presentationml/2006/main">
  <p:tag name="BCGMACROSCOPYRIGHTREPRESENTATIVE" val="BCGMacrosCopyrightRepresentative"/>
</p:tagLst>
</file>

<file path=ppt/tags/tag31.xml><?xml version="1.0" encoding="utf-8"?>
<p:tagLst xmlns:p="http://schemas.openxmlformats.org/presentationml/2006/main">
  <p:tag name="BCGMACROSCOPYRIGHTREPRESENTATIVE" val="BCGMacrosCopyrightRepresentative"/>
</p:tagLst>
</file>

<file path=ppt/tags/tag32.xml><?xml version="1.0" encoding="utf-8"?>
<p:tagLst xmlns:p="http://schemas.openxmlformats.org/presentationml/2006/main">
  <p:tag name="BCGMACROSCOPYRIGHTREPRESENTATIVE" val="BCGMacrosCopyrightRepresentative"/>
</p:tagLst>
</file>

<file path=ppt/tags/tag33.xml><?xml version="1.0" encoding="utf-8"?>
<p:tagLst xmlns:p="http://schemas.openxmlformats.org/presentationml/2006/main">
  <p:tag name="BCGMACROSCOPYRIGHTREPRESENTATIVE" val="BCGMacrosCopyrightRepresentative"/>
</p:tagLst>
</file>

<file path=ppt/tags/tag34.xml><?xml version="1.0" encoding="utf-8"?>
<p:tagLst xmlns:p="http://schemas.openxmlformats.org/presentationml/2006/main">
  <p:tag name="BCGMACROSCOPYRIGHTREPRESENTATIVE" val="BCGMacrosCopyrightRepresentative"/>
</p:tagLst>
</file>

<file path=ppt/tags/tag35.xml><?xml version="1.0" encoding="utf-8"?>
<p:tagLst xmlns:p="http://schemas.openxmlformats.org/presentationml/2006/main">
  <p:tag name="BCGMACROSCOPYRIGHTREPRESENTATIVE" val="BCGMacrosCopyrightRepresentative"/>
</p:tagLst>
</file>

<file path=ppt/tags/tag36.xml><?xml version="1.0" encoding="utf-8"?>
<p:tagLst xmlns:p="http://schemas.openxmlformats.org/presentationml/2006/main">
  <p:tag name="BCGMACROSCOPYRIGHTREPRESENTATIVE" val="BCGMacrosCopyrightRepresentative"/>
</p:tagLst>
</file>

<file path=ppt/tags/tag37.xml><?xml version="1.0" encoding="utf-8"?>
<p:tagLst xmlns:p="http://schemas.openxmlformats.org/presentationml/2006/main">
  <p:tag name="BCGMACROSCOPYRIGHTREPRESENTATIVE" val="BCGMacrosCopyrightRepresentative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BCGMACROSCOPYRIGHTREPRESENTATIVE" val="BCGMacrosCopyrightRepresentative"/>
</p:tagLst>
</file>

<file path=ppt/tags/tag40.xml><?xml version="1.0" encoding="utf-8"?>
<p:tagLst xmlns:p="http://schemas.openxmlformats.org/presentationml/2006/main">
  <p:tag name="THINKCELLUNDODONOTDELETE" val="0"/>
</p:tagLst>
</file>

<file path=ppt/tags/tag5.xml><?xml version="1.0" encoding="utf-8"?>
<p:tagLst xmlns:p="http://schemas.openxmlformats.org/presentationml/2006/main">
  <p:tag name="BCGMACROSCOPYRIGHTREPRESENTATIVE" val="BCGMacrosCopyrightRepresentative"/>
</p:tagLst>
</file>

<file path=ppt/tags/tag6.xml><?xml version="1.0" encoding="utf-8"?>
<p:tagLst xmlns:p="http://schemas.openxmlformats.org/presentationml/2006/main">
  <p:tag name="BCGMACROSCOPYRIGHTREPRESENTATIVE" val="BCGMacrosCopyrightRepresentative"/>
</p:tagLst>
</file>

<file path=ppt/tags/tag7.xml><?xml version="1.0" encoding="utf-8"?>
<p:tagLst xmlns:p="http://schemas.openxmlformats.org/presentationml/2006/main">
  <p:tag name="BCGMACROSCOPYRIGHTREPRESENTATIVE" val="BCGMacrosCopyrightRepresentative"/>
</p:tagLst>
</file>

<file path=ppt/tags/tag8.xml><?xml version="1.0" encoding="utf-8"?>
<p:tagLst xmlns:p="http://schemas.openxmlformats.org/presentationml/2006/main">
  <p:tag name="BCGMACROSCOPYRIGHTREPRESENTATIVE" val="BCGMacrosCopyrightRepresentative"/>
</p:tagLst>
</file>

<file path=ppt/tags/tag9.xml><?xml version="1.0" encoding="utf-8"?>
<p:tagLst xmlns:p="http://schemas.openxmlformats.org/presentationml/2006/main">
  <p:tag name="BCGMACROSCOPYRIGHTREPRESENTATIVE" val="BCGMacrosCopyrightRepresentative"/>
</p:tagLst>
</file>

<file path=ppt/theme/theme1.xml><?xml version="1.0" encoding="utf-8"?>
<a:theme xmlns:a="http://schemas.openxmlformats.org/drawingml/2006/main" name="Inspirient Theme">
  <a:themeElements>
    <a:clrScheme name="Inspirient">
      <a:dk1>
        <a:sysClr val="windowText" lastClr="000000"/>
      </a:dk1>
      <a:lt1>
        <a:sysClr val="window" lastClr="FFFFFF"/>
      </a:lt1>
      <a:dk2>
        <a:srgbClr val="1C438D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1C438D"/>
      </a:hlink>
      <a:folHlink>
        <a:srgbClr val="1C438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spirient Theme (with background)">
  <a:themeElements>
    <a:clrScheme name="Inspirient">
      <a:dk1>
        <a:sysClr val="windowText" lastClr="000000"/>
      </a:dk1>
      <a:lt1>
        <a:sysClr val="window" lastClr="FFFFFF"/>
      </a:lt1>
      <a:dk2>
        <a:srgbClr val="1C438D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1C438D"/>
      </a:hlink>
      <a:folHlink>
        <a:srgbClr val="1C438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nspirient Theme (dark)">
  <a:themeElements>
    <a:clrScheme name="Inspirient">
      <a:dk1>
        <a:sysClr val="windowText" lastClr="000000"/>
      </a:dk1>
      <a:lt1>
        <a:sysClr val="window" lastClr="FFFFFF"/>
      </a:lt1>
      <a:dk2>
        <a:srgbClr val="1C438D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D8D8D8"/>
      </a:hlink>
      <a:folHlink>
        <a:srgbClr val="D8D8D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7</Words>
  <Application>WPS Presentation</Application>
  <PresentationFormat>On-screen Show (16:9)</PresentationFormat>
  <Paragraphs>48</Paragraphs>
  <Slides>7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7</vt:i4>
      </vt:variant>
    </vt:vector>
  </HeadingPairs>
  <TitlesOfParts>
    <vt:vector size="18" baseType="lpstr">
      <vt:lpstr>Arial</vt:lpstr>
      <vt:lpstr>SimSun</vt:lpstr>
      <vt:lpstr>Wingdings</vt:lpstr>
      <vt:lpstr>Aleo</vt:lpstr>
      <vt:lpstr>Segoe Print</vt:lpstr>
      <vt:lpstr>Microsoft YaHei</vt:lpstr>
      <vt:lpstr>Arial Unicode MS</vt:lpstr>
      <vt:lpstr>Calibri</vt:lpstr>
      <vt:lpstr>Inspirient Theme</vt:lpstr>
      <vt:lpstr>Inspirient Theme (with background)</vt:lpstr>
      <vt:lpstr>Inspirient Theme (dark)</vt:lpstr>
      <vt:lpstr>PowerPoint 演示文稿</vt:lpstr>
      <vt:lpstr>Single Value Test</vt:lpstr>
      <vt:lpstr>List Test</vt:lpstr>
      <vt:lpstr>Table Test</vt:lpstr>
      <vt:lpstr>Series Test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{ANALYSIS_NAME}}</dc:title>
  <dc:creator>Inspirient GmbH</dc:creator>
  <cp:lastModifiedBy>WS</cp:lastModifiedBy>
  <cp:revision>2692</cp:revision>
  <dcterms:created xsi:type="dcterms:W3CDTF">2014-07-17T08:36:00Z</dcterms:created>
  <dcterms:modified xsi:type="dcterms:W3CDTF">2024-11-29T03:0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A9795106F1544F39AA00742768B1646_12</vt:lpwstr>
  </property>
  <property fmtid="{D5CDD505-2E9C-101B-9397-08002B2CF9AE}" pid="3" name="KSOProductBuildVer">
    <vt:lpwstr>2057-12.2.0.18639</vt:lpwstr>
  </property>
</Properties>
</file>